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1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6bed4af5ae1f1b7310ff5b4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DD0A808-E08A-4D0E-976E-E389F902288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1287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Secure your 7b air consumption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5"/>
            <a:ext cx="7997825" cy="307975"/>
          </a:xfrm>
        </p:spPr>
        <p:txBody>
          <a:bodyPr/>
          <a:lstStyle/>
          <a:p>
            <a:r>
              <a:rPr lang="en-GB" dirty="0"/>
              <a:t>Air leaks detection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56541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Efficiency, Cost optimisat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 Blowers Univers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1109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27392"/>
            <a:ext cx="3823487" cy="1735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carrying case incorporating the connection, fittings, hoses, and instructions for use in several languages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double-gauge leakage measuring unit 10/100 liters, including a measurement of the corresponding pressure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des a rechargeable battery that facilitates the measurement process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413" y="2259382"/>
            <a:ext cx="3552431" cy="1915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llow to define the energy losses on the blower 7b circui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asy to use without any intrusive intervention</a:t>
            </a:r>
          </a:p>
        </p:txBody>
      </p:sp>
      <p:pic>
        <p:nvPicPr>
          <p:cNvPr id="15" name="Picture 23">
            <a:extLst>
              <a:ext uri="{FF2B5EF4-FFF2-40B4-BE49-F238E27FC236}">
                <a16:creationId xmlns:a16="http://schemas.microsoft.com/office/drawing/2014/main" id="{867F4FEA-D9ED-4200-91F8-78F65B8CD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925" y="4099846"/>
            <a:ext cx="1619036" cy="152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4C0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633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88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Secure your 7b air consumptio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7</cp:revision>
  <dcterms:created xsi:type="dcterms:W3CDTF">2018-02-10T17:04:39Z</dcterms:created>
  <dcterms:modified xsi:type="dcterms:W3CDTF">2018-12-12T15:5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